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sldIdLst>
    <p:sldId id="257" r:id="rId2"/>
    <p:sldId id="258" r:id="rId3"/>
    <p:sldId id="259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BBB5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3" d="100"/>
          <a:sy n="73" d="100"/>
        </p:scale>
        <p:origin x="-624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36DAF1-EA21-48CB-ABAD-C1CD815AF273}" type="datetimeFigureOut">
              <a:rPr lang="en-IN" smtClean="0"/>
              <a:pPr/>
              <a:t>10-02-2022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A6E5E3-670E-450E-9772-15710268B6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23817740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3396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33963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06940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3396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33963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442791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3396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33963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035653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9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4.v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0.v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2C678207-4B3F-489A-98D1-459120298CA7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p:oleObj spid="_x0000_s2055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1470025"/>
          </a:xfrm>
        </p:spPr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14149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28298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4244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5659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7074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84895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9904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1319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0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28875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3F5E135-684C-4A1A-89A9-C88F41E2FE95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p:oleObj spid="_x0000_s11271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0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751994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1A250237-D19F-4256-9252-F9C8511CA0E0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p:oleObj spid="_x0000_s12295" name="think-cell Slide" r:id="rId3" imgW="360" imgH="360" progId="">
              <p:embed/>
            </p:oleObj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500366" y="330200"/>
            <a:ext cx="15360651" cy="7023100"/>
          </a:xfrm>
        </p:spPr>
        <p:txBody>
          <a:bodyPr vert="eaVert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14186" y="330200"/>
            <a:ext cx="45882982" cy="7023100"/>
          </a:xfrm>
        </p:spPr>
        <p:txBody>
          <a:bodyPr vert="eaVert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0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754808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13319" name="think-cell Slide" r:id="rId4" imgW="360" imgH="360" progId="">
              <p:embed/>
            </p:oleObj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1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6159961"/>
            <a:ext cx="12192000" cy="702201"/>
          </a:xfrm>
          <a:prstGeom prst="rect">
            <a:avLst/>
          </a:prstGeom>
          <a:solidFill>
            <a:srgbClr val="E6E6E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2" tIns="45716" rIns="91432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233140" y="6253471"/>
            <a:ext cx="385425" cy="549046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33141" y="225910"/>
            <a:ext cx="1094074" cy="215342"/>
          </a:xfrm>
          <a:prstGeom prst="rect">
            <a:avLst/>
          </a:prstGeom>
        </p:spPr>
      </p:pic>
      <p:sp>
        <p:nvSpPr>
          <p:cNvPr id="29" name="Text Placeholder 4"/>
          <p:cNvSpPr txBox="1">
            <a:spLocks/>
          </p:cNvSpPr>
          <p:nvPr userDrawn="1"/>
        </p:nvSpPr>
        <p:spPr>
          <a:xfrm>
            <a:off x="5891279" y="6328500"/>
            <a:ext cx="409442" cy="3651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D0067"/>
              </a:buClr>
              <a:buFontTx/>
              <a:buNone/>
              <a:defRPr sz="1000" b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D0067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D0067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D0067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4pPr>
            <a:lvl5pPr marL="2058988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D0067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  <a:sym typeface="Century Gothic" panose="020B0502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61878" rtl="0" eaLnBrk="1" fontAlgn="auto" latinLnBrk="0" hangingPunct="1">
              <a:lnSpc>
                <a:spcPct val="90000"/>
              </a:lnSpc>
              <a:spcBef>
                <a:spcPts val="833"/>
              </a:spcBef>
              <a:spcAft>
                <a:spcPts val="0"/>
              </a:spcAft>
              <a:buClr>
                <a:srgbClr val="CD0067"/>
              </a:buClr>
              <a:buSzTx/>
              <a:buFontTx/>
              <a:buNone/>
              <a:tabLst/>
              <a:defRPr/>
            </a:pPr>
            <a:fld id="{32E2270C-E224-40DA-AF1A-08EE71AE7DF0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ctr" defTabSz="761878" rtl="0" eaLnBrk="1" fontAlgn="auto" latinLnBrk="0" hangingPunct="1">
                <a:lnSpc>
                  <a:spcPct val="90000"/>
                </a:lnSpc>
                <a:spcBef>
                  <a:spcPts val="833"/>
                </a:spcBef>
                <a:spcAft>
                  <a:spcPts val="0"/>
                </a:spcAft>
                <a:buClr>
                  <a:srgbClr val="CD0067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7029259" y="6271986"/>
            <a:ext cx="5023845" cy="499915"/>
            <a:chOff x="7029258" y="6271985"/>
            <a:chExt cx="5023845" cy="499915"/>
          </a:xfrm>
        </p:grpSpPr>
        <p:sp>
          <p:nvSpPr>
            <p:cNvPr id="24" name="TextBox 23"/>
            <p:cNvSpPr txBox="1"/>
            <p:nvPr userDrawn="1"/>
          </p:nvSpPr>
          <p:spPr>
            <a:xfrm>
              <a:off x="11167872" y="6444999"/>
              <a:ext cx="381000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DFCF27A5-1A5B-48D3-A060-2758FFBB1ADD}" type="slidenum">
                <a:rPr kumimoji="0" lang="en-US" sz="1000" b="0" i="0" u="none" strike="noStrike" kern="1200" cap="none" spc="0" normalizeH="0" baseline="0" noProof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pPr marL="0" marR="0" lvl="0" indent="0" algn="r" defTabSz="28298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7" name="TextBox 26"/>
            <p:cNvSpPr txBox="1"/>
            <p:nvPr userDrawn="1"/>
          </p:nvSpPr>
          <p:spPr>
            <a:xfrm>
              <a:off x="11167872" y="6444999"/>
              <a:ext cx="381000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DFCF27A5-1A5B-48D3-A060-2758FFBB1ADD}" type="slidenum">
                <a:rPr kumimoji="0" lang="en-US" sz="1000" b="0" i="0" u="none" strike="noStrike" kern="1200" cap="none" spc="0" normalizeH="0" baseline="0" noProof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pPr marL="0" marR="0" lvl="0" indent="0" algn="r" defTabSz="28298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8" name="TextBox 27"/>
            <p:cNvSpPr txBox="1"/>
            <p:nvPr userDrawn="1"/>
          </p:nvSpPr>
          <p:spPr>
            <a:xfrm>
              <a:off x="11167872" y="6444999"/>
              <a:ext cx="381000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DFCF27A5-1A5B-48D3-A060-2758FFBB1ADD}" type="slidenum">
                <a:rPr kumimoji="0" lang="en-US" sz="1000" b="0" i="0" u="none" strike="noStrike" kern="120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pPr marL="0" marR="0" lvl="0" indent="0" algn="r" defTabSz="28298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‹#›</a:t>
              </a:fld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pic>
          <p:nvPicPr>
            <p:cNvPr id="30" name="Picture 29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9220687" y="6389550"/>
              <a:ext cx="896664" cy="264786"/>
            </a:xfrm>
            <a:prstGeom prst="rect">
              <a:avLst/>
            </a:prstGeom>
          </p:spPr>
        </p:pic>
        <p:pic>
          <p:nvPicPr>
            <p:cNvPr id="31" name="Picture 30"/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029258" y="6360309"/>
              <a:ext cx="683132" cy="323268"/>
            </a:xfrm>
            <a:prstGeom prst="rect">
              <a:avLst/>
            </a:prstGeom>
          </p:spPr>
        </p:pic>
        <p:pic>
          <p:nvPicPr>
            <p:cNvPr id="32" name="Picture 31"/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535725" y="6299660"/>
              <a:ext cx="548096" cy="444567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850764" y="6271985"/>
              <a:ext cx="542591" cy="499915"/>
            </a:xfrm>
            <a:prstGeom prst="rect">
              <a:avLst/>
            </a:prstGeom>
          </p:spPr>
        </p:pic>
        <p:cxnSp>
          <p:nvCxnSpPr>
            <p:cNvPr id="34" name="Straight Connector 33"/>
            <p:cNvCxnSpPr/>
            <p:nvPr userDrawn="1"/>
          </p:nvCxnSpPr>
          <p:spPr>
            <a:xfrm>
              <a:off x="10956253" y="6293343"/>
              <a:ext cx="0" cy="457200"/>
            </a:xfrm>
            <a:prstGeom prst="line">
              <a:avLst/>
            </a:prstGeom>
            <a:ln w="9525" cap="rnd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0201255" y="6293343"/>
              <a:ext cx="0" cy="457200"/>
            </a:xfrm>
            <a:prstGeom prst="line">
              <a:avLst/>
            </a:prstGeom>
            <a:ln w="9525" cap="rnd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151297" y="6293343"/>
              <a:ext cx="0" cy="457200"/>
            </a:xfrm>
            <a:prstGeom prst="line">
              <a:avLst/>
            </a:prstGeom>
            <a:ln w="9525" cap="rnd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8466336" y="6293343"/>
              <a:ext cx="0" cy="457200"/>
            </a:xfrm>
            <a:prstGeom prst="line">
              <a:avLst/>
            </a:prstGeom>
            <a:ln w="9525" cap="rnd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7781375" y="6293343"/>
              <a:ext cx="0" cy="457200"/>
            </a:xfrm>
            <a:prstGeom prst="line">
              <a:avLst/>
            </a:prstGeom>
            <a:ln w="9525" cap="rnd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9" name="Picture 38"/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1025643" y="6375163"/>
              <a:ext cx="1027460" cy="293560"/>
            </a:xfrm>
            <a:prstGeom prst="rect">
              <a:avLst/>
            </a:prstGeom>
          </p:spPr>
        </p:pic>
        <p:pic>
          <p:nvPicPr>
            <p:cNvPr id="40" name="Picture 39"/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0270645" y="6354258"/>
              <a:ext cx="615862" cy="3353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xmlns="" val="41491554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p:oleObj spid="_x0000_s14343" name="think-cell Slide" r:id="rId3" imgW="360" imgH="360" progId="">
              <p:embed/>
            </p:oleObj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30609"/>
            <a:ext cx="5133975" cy="8072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3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545297"/>
            <a:ext cx="10972799" cy="1143000"/>
          </a:xfrm>
        </p:spPr>
        <p:txBody>
          <a:bodyPr vert="horz" lIns="338328"/>
          <a:lstStyle>
            <a:lvl1pPr algn="l">
              <a:defRPr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4229935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518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9C2AE0D9-C889-43D8-8F94-B7848C2F32C0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p:oleObj spid="_x0000_s3079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0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58208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13B8D8A7-0FF8-49D8-A665-F1E39A2E24D8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p:oleObj spid="_x0000_s410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vert="horz" anchor="t"/>
          <a:lstStyle>
            <a:lvl1pPr algn="l">
              <a:defRPr sz="12415" b="1" cap="all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6166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1414922" indent="0">
              <a:buNone/>
              <a:defRPr sz="5582">
                <a:solidFill>
                  <a:schemeClr val="tx1">
                    <a:tint val="75000"/>
                  </a:schemeClr>
                </a:solidFill>
              </a:defRPr>
            </a:lvl2pPr>
            <a:lvl3pPr marL="2829844" indent="0">
              <a:buNone/>
              <a:defRPr sz="4916">
                <a:solidFill>
                  <a:schemeClr val="tx1">
                    <a:tint val="75000"/>
                  </a:schemeClr>
                </a:solidFill>
              </a:defRPr>
            </a:lvl3pPr>
            <a:lvl4pPr marL="4244766" indent="0">
              <a:buNone/>
              <a:defRPr sz="4333">
                <a:solidFill>
                  <a:schemeClr val="tx1">
                    <a:tint val="75000"/>
                  </a:schemeClr>
                </a:solidFill>
              </a:defRPr>
            </a:lvl4pPr>
            <a:lvl5pPr marL="5659688" indent="0">
              <a:buNone/>
              <a:defRPr sz="4333">
                <a:solidFill>
                  <a:schemeClr val="tx1">
                    <a:tint val="75000"/>
                  </a:schemeClr>
                </a:solidFill>
              </a:defRPr>
            </a:lvl5pPr>
            <a:lvl6pPr marL="7074610" indent="0">
              <a:buNone/>
              <a:defRPr sz="4333">
                <a:solidFill>
                  <a:schemeClr val="tx1">
                    <a:tint val="75000"/>
                  </a:schemeClr>
                </a:solidFill>
              </a:defRPr>
            </a:lvl6pPr>
            <a:lvl7pPr marL="8489531" indent="0">
              <a:buNone/>
              <a:defRPr sz="4333">
                <a:solidFill>
                  <a:schemeClr val="tx1">
                    <a:tint val="75000"/>
                  </a:schemeClr>
                </a:solidFill>
              </a:defRPr>
            </a:lvl7pPr>
            <a:lvl8pPr marL="9904453" indent="0">
              <a:buNone/>
              <a:defRPr sz="4333">
                <a:solidFill>
                  <a:schemeClr val="tx1">
                    <a:tint val="75000"/>
                  </a:schemeClr>
                </a:solidFill>
              </a:defRPr>
            </a:lvl8pPr>
            <a:lvl9pPr marL="11319375" indent="0">
              <a:buNone/>
              <a:defRPr sz="43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0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89244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8A31186B-BC1F-45A0-B421-04D3CDAD3CCD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p:oleObj spid="_x0000_s5127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14185" y="1920875"/>
            <a:ext cx="30621816" cy="5432425"/>
          </a:xfrm>
        </p:spPr>
        <p:txBody>
          <a:bodyPr/>
          <a:lstStyle>
            <a:lvl1pPr>
              <a:defRPr sz="8665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defRPr sz="7415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defRPr sz="6166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sz="5582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defRPr sz="5582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>
              <a:defRPr sz="5582"/>
            </a:lvl6pPr>
            <a:lvl7pPr>
              <a:defRPr sz="5582"/>
            </a:lvl7pPr>
            <a:lvl8pPr>
              <a:defRPr sz="5582"/>
            </a:lvl8pPr>
            <a:lvl9pPr>
              <a:defRPr sz="558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39202" y="1920875"/>
            <a:ext cx="30621817" cy="5432425"/>
          </a:xfrm>
        </p:spPr>
        <p:txBody>
          <a:bodyPr/>
          <a:lstStyle>
            <a:lvl1pPr>
              <a:defRPr sz="8665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defRPr sz="7415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defRPr sz="6166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sz="5582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defRPr sz="5582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>
              <a:defRPr sz="5582"/>
            </a:lvl6pPr>
            <a:lvl7pPr>
              <a:defRPr sz="5582"/>
            </a:lvl7pPr>
            <a:lvl8pPr>
              <a:defRPr sz="5582"/>
            </a:lvl8pPr>
            <a:lvl9pPr>
              <a:defRPr sz="558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0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191654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27E9A58-1E63-4F0F-8033-8FED186F8692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p:oleObj spid="_x0000_s6151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10972800" cy="1143000"/>
          </a:xfrm>
        </p:spPr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2"/>
          </a:xfrm>
        </p:spPr>
        <p:txBody>
          <a:bodyPr anchor="b"/>
          <a:lstStyle>
            <a:lvl1pPr marL="0" indent="0">
              <a:buNone/>
              <a:defRPr sz="7415" b="1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1414922" indent="0">
              <a:buNone/>
              <a:defRPr sz="6166" b="1"/>
            </a:lvl2pPr>
            <a:lvl3pPr marL="2829844" indent="0">
              <a:buNone/>
              <a:defRPr sz="5582" b="1"/>
            </a:lvl3pPr>
            <a:lvl4pPr marL="4244766" indent="0">
              <a:buNone/>
              <a:defRPr sz="4916" b="1"/>
            </a:lvl4pPr>
            <a:lvl5pPr marL="5659688" indent="0">
              <a:buNone/>
              <a:defRPr sz="4916" b="1"/>
            </a:lvl5pPr>
            <a:lvl6pPr marL="7074610" indent="0">
              <a:buNone/>
              <a:defRPr sz="4916" b="1"/>
            </a:lvl6pPr>
            <a:lvl7pPr marL="8489531" indent="0">
              <a:buNone/>
              <a:defRPr sz="4916" b="1"/>
            </a:lvl7pPr>
            <a:lvl8pPr marL="9904453" indent="0">
              <a:buNone/>
              <a:defRPr sz="4916" b="1"/>
            </a:lvl8pPr>
            <a:lvl9pPr marL="11319375" indent="0">
              <a:buNone/>
              <a:defRPr sz="4916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6"/>
            <a:ext cx="5386917" cy="3951288"/>
          </a:xfrm>
        </p:spPr>
        <p:txBody>
          <a:bodyPr/>
          <a:lstStyle>
            <a:lvl1pPr>
              <a:defRPr sz="7415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defRPr sz="6166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defRPr sz="5582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sz="4916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defRPr sz="4916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>
              <a:defRPr sz="4916"/>
            </a:lvl6pPr>
            <a:lvl7pPr>
              <a:defRPr sz="4916"/>
            </a:lvl7pPr>
            <a:lvl8pPr>
              <a:defRPr sz="4916"/>
            </a:lvl8pPr>
            <a:lvl9pPr>
              <a:defRPr sz="491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7" y="1535114"/>
            <a:ext cx="5389033" cy="639762"/>
          </a:xfrm>
        </p:spPr>
        <p:txBody>
          <a:bodyPr anchor="b"/>
          <a:lstStyle>
            <a:lvl1pPr marL="0" indent="0">
              <a:buNone/>
              <a:defRPr sz="7415" b="1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1414922" indent="0">
              <a:buNone/>
              <a:defRPr sz="6166" b="1"/>
            </a:lvl2pPr>
            <a:lvl3pPr marL="2829844" indent="0">
              <a:buNone/>
              <a:defRPr sz="5582" b="1"/>
            </a:lvl3pPr>
            <a:lvl4pPr marL="4244766" indent="0">
              <a:buNone/>
              <a:defRPr sz="4916" b="1"/>
            </a:lvl4pPr>
            <a:lvl5pPr marL="5659688" indent="0">
              <a:buNone/>
              <a:defRPr sz="4916" b="1"/>
            </a:lvl5pPr>
            <a:lvl6pPr marL="7074610" indent="0">
              <a:buNone/>
              <a:defRPr sz="4916" b="1"/>
            </a:lvl6pPr>
            <a:lvl7pPr marL="8489531" indent="0">
              <a:buNone/>
              <a:defRPr sz="4916" b="1"/>
            </a:lvl7pPr>
            <a:lvl8pPr marL="9904453" indent="0">
              <a:buNone/>
              <a:defRPr sz="4916" b="1"/>
            </a:lvl8pPr>
            <a:lvl9pPr marL="11319375" indent="0">
              <a:buNone/>
              <a:defRPr sz="4916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2174876"/>
            <a:ext cx="5389033" cy="3951288"/>
          </a:xfrm>
        </p:spPr>
        <p:txBody>
          <a:bodyPr/>
          <a:lstStyle>
            <a:lvl1pPr>
              <a:defRPr sz="7415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defRPr sz="6166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defRPr sz="5582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sz="4916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defRPr sz="4916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>
              <a:defRPr sz="4916"/>
            </a:lvl6pPr>
            <a:lvl7pPr>
              <a:defRPr sz="4916"/>
            </a:lvl7pPr>
            <a:lvl8pPr>
              <a:defRPr sz="4916"/>
            </a:lvl8pPr>
            <a:lvl9pPr>
              <a:defRPr sz="491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0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84967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4C8C0E30-2471-445F-8615-7A9E4F323C2F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p:oleObj spid="_x0000_s7175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0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341432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53BBB97C-9FE0-4A78-8FE8-7BD154D07981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p:oleObj spid="_x0000_s8199" name="think-cell Slide" r:id="rId3" imgW="360" imgH="360" progId="">
              <p:embed/>
            </p:oleObj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0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67070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13201A4A-8474-41C4-9183-2B712D49E3B1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p:oleObj spid="_x0000_s922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1"/>
            <a:ext cx="4011084" cy="1162050"/>
          </a:xfrm>
        </p:spPr>
        <p:txBody>
          <a:bodyPr vert="horz" anchor="b"/>
          <a:lstStyle>
            <a:lvl1pPr algn="l">
              <a:defRPr sz="6166" b="1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9915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defRPr sz="8665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defRPr sz="7415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sz="6166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defRPr sz="6166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>
              <a:defRPr sz="6166"/>
            </a:lvl6pPr>
            <a:lvl7pPr>
              <a:defRPr sz="6166"/>
            </a:lvl7pPr>
            <a:lvl8pPr>
              <a:defRPr sz="6166"/>
            </a:lvl8pPr>
            <a:lvl9pPr>
              <a:defRPr sz="616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1"/>
            <a:ext cx="4011084" cy="4691063"/>
          </a:xfrm>
        </p:spPr>
        <p:txBody>
          <a:bodyPr/>
          <a:lstStyle>
            <a:lvl1pPr marL="0" indent="0">
              <a:buNone/>
              <a:defRPr sz="4333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1414922" indent="0">
              <a:buNone/>
              <a:defRPr sz="3749"/>
            </a:lvl2pPr>
            <a:lvl3pPr marL="2829844" indent="0">
              <a:buNone/>
              <a:defRPr sz="3083"/>
            </a:lvl3pPr>
            <a:lvl4pPr marL="4244766" indent="0">
              <a:buNone/>
              <a:defRPr sz="2750"/>
            </a:lvl4pPr>
            <a:lvl5pPr marL="5659688" indent="0">
              <a:buNone/>
              <a:defRPr sz="2750"/>
            </a:lvl5pPr>
            <a:lvl6pPr marL="7074610" indent="0">
              <a:buNone/>
              <a:defRPr sz="2750"/>
            </a:lvl6pPr>
            <a:lvl7pPr marL="8489531" indent="0">
              <a:buNone/>
              <a:defRPr sz="2750"/>
            </a:lvl7pPr>
            <a:lvl8pPr marL="9904453" indent="0">
              <a:buNone/>
              <a:defRPr sz="2750"/>
            </a:lvl8pPr>
            <a:lvl9pPr marL="11319375" indent="0">
              <a:buNone/>
              <a:defRPr sz="2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0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950156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C4636721-651A-4F12-844B-4B45AF3C617B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p:oleObj spid="_x0000_s10247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8" y="4800602"/>
            <a:ext cx="7315200" cy="566738"/>
          </a:xfrm>
        </p:spPr>
        <p:txBody>
          <a:bodyPr vert="horz" anchor="b"/>
          <a:lstStyle>
            <a:lvl1pPr algn="l">
              <a:defRPr sz="6166" b="1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8" y="612776"/>
            <a:ext cx="7315200" cy="4114800"/>
          </a:xfrm>
        </p:spPr>
        <p:txBody>
          <a:bodyPr/>
          <a:lstStyle>
            <a:lvl1pPr marL="0" indent="0">
              <a:buNone/>
              <a:defRPr sz="9915"/>
            </a:lvl1pPr>
            <a:lvl2pPr marL="1414922" indent="0">
              <a:buNone/>
              <a:defRPr sz="8665"/>
            </a:lvl2pPr>
            <a:lvl3pPr marL="2829844" indent="0">
              <a:buNone/>
              <a:defRPr sz="7415"/>
            </a:lvl3pPr>
            <a:lvl4pPr marL="4244766" indent="0">
              <a:buNone/>
              <a:defRPr sz="6166"/>
            </a:lvl4pPr>
            <a:lvl5pPr marL="5659688" indent="0">
              <a:buNone/>
              <a:defRPr sz="6166"/>
            </a:lvl5pPr>
            <a:lvl6pPr marL="7074610" indent="0">
              <a:buNone/>
              <a:defRPr sz="6166"/>
            </a:lvl6pPr>
            <a:lvl7pPr marL="8489531" indent="0">
              <a:buNone/>
              <a:defRPr sz="6166"/>
            </a:lvl7pPr>
            <a:lvl8pPr marL="9904453" indent="0">
              <a:buNone/>
              <a:defRPr sz="6166"/>
            </a:lvl8pPr>
            <a:lvl9pPr marL="11319375" indent="0">
              <a:buNone/>
              <a:defRPr sz="6166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8" y="5367339"/>
            <a:ext cx="7315200" cy="804862"/>
          </a:xfrm>
        </p:spPr>
        <p:txBody>
          <a:bodyPr/>
          <a:lstStyle>
            <a:lvl1pPr marL="0" indent="0">
              <a:buNone/>
              <a:defRPr sz="4333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1414922" indent="0">
              <a:buNone/>
              <a:defRPr sz="3749"/>
            </a:lvl2pPr>
            <a:lvl3pPr marL="2829844" indent="0">
              <a:buNone/>
              <a:defRPr sz="3083"/>
            </a:lvl3pPr>
            <a:lvl4pPr marL="4244766" indent="0">
              <a:buNone/>
              <a:defRPr sz="2750"/>
            </a:lvl4pPr>
            <a:lvl5pPr marL="5659688" indent="0">
              <a:buNone/>
              <a:defRPr sz="2750"/>
            </a:lvl5pPr>
            <a:lvl6pPr marL="7074610" indent="0">
              <a:buNone/>
              <a:defRPr sz="2750"/>
            </a:lvl6pPr>
            <a:lvl7pPr marL="8489531" indent="0">
              <a:buNone/>
              <a:defRPr sz="2750"/>
            </a:lvl7pPr>
            <a:lvl8pPr marL="9904453" indent="0">
              <a:buNone/>
              <a:defRPr sz="2750"/>
            </a:lvl8pPr>
            <a:lvl9pPr marL="11319375" indent="0">
              <a:buNone/>
              <a:defRPr sz="2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0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624221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E0376E78-BCF7-4F6E-BE3E-177ABBF25073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323" y="1323"/>
          <a:ext cx="1323" cy="1323"/>
        </p:xfrm>
        <a:graphic>
          <a:graphicData uri="http://schemas.openxmlformats.org/presentationml/2006/ole">
            <p:oleObj spid="_x0000_s1031" name="think-cell Slide" r:id="rId17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10972800" cy="1143000"/>
          </a:xfrm>
          <a:prstGeom prst="rect">
            <a:avLst/>
          </a:prstGeom>
        </p:spPr>
        <p:txBody>
          <a:bodyPr vert="horz" lIns="339636" tIns="169818" rIns="339636" bIns="169818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600201"/>
            <a:ext cx="10972800" cy="4525963"/>
          </a:xfrm>
          <a:prstGeom prst="rect">
            <a:avLst/>
          </a:prstGeom>
        </p:spPr>
        <p:txBody>
          <a:bodyPr vert="horz" lIns="339636" tIns="169818" rIns="339636" bIns="16981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339636" tIns="169818" rIns="339636" bIns="169818" rtlCol="0" anchor="ctr"/>
          <a:lstStyle>
            <a:lvl1pPr algn="l">
              <a:defRPr sz="3749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60221-797B-4BF3-80C0-34365B690D12}" type="datetimeFigureOut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l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0/2022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 vert="horz" lIns="339636" tIns="169818" rIns="339636" bIns="169818" rtlCol="0" anchor="ctr"/>
          <a:lstStyle>
            <a:lvl1pPr algn="ctr">
              <a:defRPr sz="3749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 vert="horz" lIns="339636" tIns="169818" rIns="339636" bIns="169818" rtlCol="0" anchor="ctr"/>
          <a:lstStyle>
            <a:lvl1pPr algn="r">
              <a:defRPr sz="3749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C7A1E3-7DB9-4B9C-A203-284B673CDA1F}" type="slidenum">
              <a:rPr kumimoji="0" lang="en-US" sz="3749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2829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749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99529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ctr" defTabSz="2829844" rtl="0" eaLnBrk="1" latinLnBrk="0" hangingPunct="1">
        <a:spcBef>
          <a:spcPct val="0"/>
        </a:spcBef>
        <a:buNone/>
        <a:defRPr sz="1358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1061191" indent="-1061191" algn="l" defTabSz="2829844" rtl="0" eaLnBrk="1" latinLnBrk="0" hangingPunct="1">
        <a:spcBef>
          <a:spcPct val="20000"/>
        </a:spcBef>
        <a:buFont typeface="Arial" pitchFamily="34" charset="0"/>
        <a:buChar char="•"/>
        <a:defRPr sz="9915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2299248" indent="-884326" algn="l" defTabSz="2829844" rtl="0" eaLnBrk="1" latinLnBrk="0" hangingPunct="1">
        <a:spcBef>
          <a:spcPct val="20000"/>
        </a:spcBef>
        <a:buFont typeface="Arial" pitchFamily="34" charset="0"/>
        <a:buChar char="–"/>
        <a:defRPr sz="8665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3537305" indent="-707461" algn="l" defTabSz="2829844" rtl="0" eaLnBrk="1" latinLnBrk="0" hangingPunct="1">
        <a:spcBef>
          <a:spcPct val="20000"/>
        </a:spcBef>
        <a:buFont typeface="Arial" pitchFamily="34" charset="0"/>
        <a:buChar char="•"/>
        <a:defRPr sz="7415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4952227" indent="-707461" algn="l" defTabSz="2829844" rtl="0" eaLnBrk="1" latinLnBrk="0" hangingPunct="1">
        <a:spcBef>
          <a:spcPct val="20000"/>
        </a:spcBef>
        <a:buFont typeface="Arial" pitchFamily="34" charset="0"/>
        <a:buChar char="–"/>
        <a:defRPr sz="6166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6367149" indent="-707461" algn="l" defTabSz="2829844" rtl="0" eaLnBrk="1" latinLnBrk="0" hangingPunct="1">
        <a:spcBef>
          <a:spcPct val="20000"/>
        </a:spcBef>
        <a:buFont typeface="Arial" pitchFamily="34" charset="0"/>
        <a:buChar char="»"/>
        <a:defRPr sz="6166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7782071" indent="-707461" algn="l" defTabSz="2829844" rtl="0" eaLnBrk="1" latinLnBrk="0" hangingPunct="1">
        <a:spcBef>
          <a:spcPct val="20000"/>
        </a:spcBef>
        <a:buFont typeface="Arial" pitchFamily="34" charset="0"/>
        <a:buChar char="•"/>
        <a:defRPr sz="6166" kern="1200">
          <a:solidFill>
            <a:schemeClr val="tx1"/>
          </a:solidFill>
          <a:latin typeface="+mn-lt"/>
          <a:ea typeface="+mn-ea"/>
          <a:cs typeface="+mn-cs"/>
        </a:defRPr>
      </a:lvl6pPr>
      <a:lvl7pPr marL="9196992" indent="-707461" algn="l" defTabSz="2829844" rtl="0" eaLnBrk="1" latinLnBrk="0" hangingPunct="1">
        <a:spcBef>
          <a:spcPct val="20000"/>
        </a:spcBef>
        <a:buFont typeface="Arial" pitchFamily="34" charset="0"/>
        <a:buChar char="•"/>
        <a:defRPr sz="6166" kern="1200">
          <a:solidFill>
            <a:schemeClr val="tx1"/>
          </a:solidFill>
          <a:latin typeface="+mn-lt"/>
          <a:ea typeface="+mn-ea"/>
          <a:cs typeface="+mn-cs"/>
        </a:defRPr>
      </a:lvl7pPr>
      <a:lvl8pPr marL="10611914" indent="-707461" algn="l" defTabSz="2829844" rtl="0" eaLnBrk="1" latinLnBrk="0" hangingPunct="1">
        <a:spcBef>
          <a:spcPct val="20000"/>
        </a:spcBef>
        <a:buFont typeface="Arial" pitchFamily="34" charset="0"/>
        <a:buChar char="•"/>
        <a:defRPr sz="6166" kern="1200">
          <a:solidFill>
            <a:schemeClr val="tx1"/>
          </a:solidFill>
          <a:latin typeface="+mn-lt"/>
          <a:ea typeface="+mn-ea"/>
          <a:cs typeface="+mn-cs"/>
        </a:defRPr>
      </a:lvl8pPr>
      <a:lvl9pPr marL="12026836" indent="-707461" algn="l" defTabSz="2829844" rtl="0" eaLnBrk="1" latinLnBrk="0" hangingPunct="1">
        <a:spcBef>
          <a:spcPct val="20000"/>
        </a:spcBef>
        <a:buFont typeface="Arial" pitchFamily="34" charset="0"/>
        <a:buChar char="•"/>
        <a:defRPr sz="61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829844" rtl="0" eaLnBrk="1" latinLnBrk="0" hangingPunct="1">
        <a:defRPr sz="5582" kern="1200">
          <a:solidFill>
            <a:schemeClr val="tx1"/>
          </a:solidFill>
          <a:latin typeface="+mn-lt"/>
          <a:ea typeface="+mn-ea"/>
          <a:cs typeface="+mn-cs"/>
        </a:defRPr>
      </a:lvl1pPr>
      <a:lvl2pPr marL="1414922" algn="l" defTabSz="2829844" rtl="0" eaLnBrk="1" latinLnBrk="0" hangingPunct="1">
        <a:defRPr sz="5582" kern="1200">
          <a:solidFill>
            <a:schemeClr val="tx1"/>
          </a:solidFill>
          <a:latin typeface="+mn-lt"/>
          <a:ea typeface="+mn-ea"/>
          <a:cs typeface="+mn-cs"/>
        </a:defRPr>
      </a:lvl2pPr>
      <a:lvl3pPr marL="2829844" algn="l" defTabSz="2829844" rtl="0" eaLnBrk="1" latinLnBrk="0" hangingPunct="1">
        <a:defRPr sz="5582" kern="1200">
          <a:solidFill>
            <a:schemeClr val="tx1"/>
          </a:solidFill>
          <a:latin typeface="+mn-lt"/>
          <a:ea typeface="+mn-ea"/>
          <a:cs typeface="+mn-cs"/>
        </a:defRPr>
      </a:lvl3pPr>
      <a:lvl4pPr marL="4244766" algn="l" defTabSz="2829844" rtl="0" eaLnBrk="1" latinLnBrk="0" hangingPunct="1">
        <a:defRPr sz="5582" kern="1200">
          <a:solidFill>
            <a:schemeClr val="tx1"/>
          </a:solidFill>
          <a:latin typeface="+mn-lt"/>
          <a:ea typeface="+mn-ea"/>
          <a:cs typeface="+mn-cs"/>
        </a:defRPr>
      </a:lvl4pPr>
      <a:lvl5pPr marL="5659688" algn="l" defTabSz="2829844" rtl="0" eaLnBrk="1" latinLnBrk="0" hangingPunct="1">
        <a:defRPr sz="5582" kern="1200">
          <a:solidFill>
            <a:schemeClr val="tx1"/>
          </a:solidFill>
          <a:latin typeface="+mn-lt"/>
          <a:ea typeface="+mn-ea"/>
          <a:cs typeface="+mn-cs"/>
        </a:defRPr>
      </a:lvl5pPr>
      <a:lvl6pPr marL="7074610" algn="l" defTabSz="2829844" rtl="0" eaLnBrk="1" latinLnBrk="0" hangingPunct="1">
        <a:defRPr sz="5582" kern="1200">
          <a:solidFill>
            <a:schemeClr val="tx1"/>
          </a:solidFill>
          <a:latin typeface="+mn-lt"/>
          <a:ea typeface="+mn-ea"/>
          <a:cs typeface="+mn-cs"/>
        </a:defRPr>
      </a:lvl6pPr>
      <a:lvl7pPr marL="8489531" algn="l" defTabSz="2829844" rtl="0" eaLnBrk="1" latinLnBrk="0" hangingPunct="1">
        <a:defRPr sz="5582" kern="1200">
          <a:solidFill>
            <a:schemeClr val="tx1"/>
          </a:solidFill>
          <a:latin typeface="+mn-lt"/>
          <a:ea typeface="+mn-ea"/>
          <a:cs typeface="+mn-cs"/>
        </a:defRPr>
      </a:lvl7pPr>
      <a:lvl8pPr marL="9904453" algn="l" defTabSz="2829844" rtl="0" eaLnBrk="1" latinLnBrk="0" hangingPunct="1">
        <a:defRPr sz="5582" kern="1200">
          <a:solidFill>
            <a:schemeClr val="tx1"/>
          </a:solidFill>
          <a:latin typeface="+mn-lt"/>
          <a:ea typeface="+mn-ea"/>
          <a:cs typeface="+mn-cs"/>
        </a:defRPr>
      </a:lvl8pPr>
      <a:lvl9pPr marL="11319375" algn="l" defTabSz="2829844" rtl="0" eaLnBrk="1" latinLnBrk="0" hangingPunct="1">
        <a:defRPr sz="558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5.vml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.xml"/><Relationship Id="rId1" Type="http://schemas.openxmlformats.org/officeDocument/2006/relationships/vmlDrawing" Target="../drawings/vmlDrawing16.vml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4.xml"/><Relationship Id="rId1" Type="http://schemas.openxmlformats.org/officeDocument/2006/relationships/vmlDrawing" Target="../drawings/vmlDrawing17.vml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extLst/>
          </p:nvPr>
        </p:nvGraphicFramePr>
        <p:xfrm>
          <a:off x="2102" y="1877"/>
          <a:ext cx="1588" cy="1588"/>
        </p:xfrm>
        <a:graphic>
          <a:graphicData uri="http://schemas.openxmlformats.org/presentationml/2006/ole">
            <p:oleObj spid="_x0000_s15367" name="think-cell Slide" r:id="rId5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515" y="289"/>
            <a:ext cx="158737" cy="15873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smtClean="0"/>
              <a:t>RJ Jaipur | </a:t>
            </a:r>
            <a:r>
              <a:rPr lang="en-US" dirty="0" smtClean="0">
                <a:solidFill>
                  <a:srgbClr val="FFFF00"/>
                </a:solidFill>
              </a:rPr>
              <a:t>AO Name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MO &amp; SSA Performa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610175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28758625-D74F-4A51-AF83-327C30ED5C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149" y="571423"/>
            <a:ext cx="10972799" cy="551983"/>
          </a:xfrm>
        </p:spPr>
        <p:txBody>
          <a:bodyPr vert="horz" lIns="0" tIns="0" rIns="0" bIns="0" rtlCol="0" anchor="ctr">
            <a:noAutofit/>
          </a:bodyPr>
          <a:lstStyle/>
          <a:p>
            <a:r>
              <a:rPr lang="en-US" sz="3333" dirty="0" smtClean="0">
                <a:solidFill>
                  <a:schemeClr val="accent2"/>
                </a:solidFill>
              </a:rPr>
              <a:t>DMO Performance Sheet </a:t>
            </a:r>
            <a:r>
              <a:rPr lang="en-US" sz="3333" dirty="0">
                <a:solidFill>
                  <a:schemeClr val="tx2"/>
                </a:solidFill>
              </a:rPr>
              <a:t>|</a:t>
            </a:r>
            <a:r>
              <a:rPr lang="en-US" sz="3333" dirty="0" smtClean="0">
                <a:solidFill>
                  <a:schemeClr val="accent2"/>
                </a:solidFill>
              </a:rPr>
              <a:t>|</a:t>
            </a:r>
            <a:r>
              <a:rPr lang="en-US" sz="3333" dirty="0" smtClean="0">
                <a:solidFill>
                  <a:schemeClr val="tx2"/>
                </a:solidFill>
              </a:rPr>
              <a:t> NAME | District | AO</a:t>
            </a:r>
            <a:endParaRPr lang="en-US" sz="3333" i="1" dirty="0">
              <a:solidFill>
                <a:schemeClr val="tx2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B96E5B2-1E30-4BCE-A3B2-B77E3B1D605D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2102" y="1877"/>
          <a:ext cx="1588" cy="1588"/>
        </p:xfrm>
        <a:graphic>
          <a:graphicData uri="http://schemas.openxmlformats.org/presentationml/2006/ole">
            <p:oleObj spid="_x0000_s16391" name="think-cell Slide" r:id="rId5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4B99806-886A-4F85-9BFB-969030C21E0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5" y="289"/>
            <a:ext cx="158737" cy="15873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6003107" y="1698300"/>
          <a:ext cx="6014720" cy="143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2944">
                  <a:extLst>
                    <a:ext uri="{9D8B030D-6E8A-4147-A177-3AD203B41FA5}">
                      <a16:colId xmlns:a16="http://schemas.microsoft.com/office/drawing/2014/main" xmlns="" val="644944820"/>
                    </a:ext>
                  </a:extLst>
                </a:gridCol>
                <a:gridCol w="1202944">
                  <a:extLst>
                    <a:ext uri="{9D8B030D-6E8A-4147-A177-3AD203B41FA5}">
                      <a16:colId xmlns:a16="http://schemas.microsoft.com/office/drawing/2014/main" xmlns="" val="2919607223"/>
                    </a:ext>
                  </a:extLst>
                </a:gridCol>
                <a:gridCol w="1202944">
                  <a:extLst>
                    <a:ext uri="{9D8B030D-6E8A-4147-A177-3AD203B41FA5}">
                      <a16:colId xmlns:a16="http://schemas.microsoft.com/office/drawing/2014/main" xmlns="" val="492436546"/>
                    </a:ext>
                  </a:extLst>
                </a:gridCol>
                <a:gridCol w="1202944">
                  <a:extLst>
                    <a:ext uri="{9D8B030D-6E8A-4147-A177-3AD203B41FA5}">
                      <a16:colId xmlns:a16="http://schemas.microsoft.com/office/drawing/2014/main" xmlns="" val="3665563024"/>
                    </a:ext>
                  </a:extLst>
                </a:gridCol>
                <a:gridCol w="1202944">
                  <a:extLst>
                    <a:ext uri="{9D8B030D-6E8A-4147-A177-3AD203B41FA5}">
                      <a16:colId xmlns:a16="http://schemas.microsoft.com/office/drawing/2014/main" xmlns="" val="4120640644"/>
                    </a:ext>
                  </a:extLst>
                </a:gridCol>
              </a:tblGrid>
              <a:tr h="445089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j-lt"/>
                        </a:rPr>
                        <a:t>Network Partners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Numbers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Active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Active</a:t>
                      </a:r>
                      <a:r>
                        <a:rPr lang="en-US" sz="1400" baseline="0" dirty="0" smtClean="0">
                          <a:latin typeface="+mj-lt"/>
                        </a:rPr>
                        <a:t> (%)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Growth (%)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55352206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eale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17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12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70.5%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93366133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R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10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8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80%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3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85616351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B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3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2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66%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-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51579697"/>
                  </a:ext>
                </a:extLst>
              </a:tr>
            </a:tbl>
          </a:graphicData>
        </a:graphic>
      </p:graphicFrame>
      <p:graphicFrame>
        <p:nvGraphicFramePr>
          <p:cNvPr id="24" name="Table 23"/>
          <p:cNvGraphicFramePr>
            <a:graphicFrameLocks noGrp="1"/>
          </p:cNvGraphicFramePr>
          <p:nvPr/>
        </p:nvGraphicFramePr>
        <p:xfrm>
          <a:off x="100147" y="1698300"/>
          <a:ext cx="5543006" cy="143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7683">
                  <a:extLst>
                    <a:ext uri="{9D8B030D-6E8A-4147-A177-3AD203B41FA5}">
                      <a16:colId xmlns:a16="http://schemas.microsoft.com/office/drawing/2014/main" xmlns="" val="644944820"/>
                    </a:ext>
                  </a:extLst>
                </a:gridCol>
                <a:gridCol w="1693820">
                  <a:extLst>
                    <a:ext uri="{9D8B030D-6E8A-4147-A177-3AD203B41FA5}">
                      <a16:colId xmlns:a16="http://schemas.microsoft.com/office/drawing/2014/main" xmlns="" val="2919607223"/>
                    </a:ext>
                  </a:extLst>
                </a:gridCol>
                <a:gridCol w="1631984">
                  <a:extLst>
                    <a:ext uri="{9D8B030D-6E8A-4147-A177-3AD203B41FA5}">
                      <a16:colId xmlns:a16="http://schemas.microsoft.com/office/drawing/2014/main" xmlns="" val="492436546"/>
                    </a:ext>
                  </a:extLst>
                </a:gridCol>
                <a:gridCol w="1139519">
                  <a:extLst>
                    <a:ext uri="{9D8B030D-6E8A-4147-A177-3AD203B41FA5}">
                      <a16:colId xmlns:a16="http://schemas.microsoft.com/office/drawing/2014/main" xmlns="" val="3665563024"/>
                    </a:ext>
                  </a:extLst>
                </a:gridCol>
              </a:tblGrid>
              <a:tr h="445089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j-lt"/>
                        </a:rPr>
                        <a:t>Particulars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FY21 </a:t>
                      </a:r>
                      <a:r>
                        <a:rPr lang="en-US" sz="1400" dirty="0" smtClean="0">
                          <a:latin typeface="+mj-lt"/>
                        </a:rPr>
                        <a:t>(MAY </a:t>
                      </a:r>
                      <a:r>
                        <a:rPr lang="en-US" sz="1400" dirty="0" smtClean="0">
                          <a:latin typeface="+mj-lt"/>
                        </a:rPr>
                        <a:t>– Mar</a:t>
                      </a:r>
                      <a:r>
                        <a:rPr lang="en-US" sz="1400" baseline="0" dirty="0" smtClean="0">
                          <a:latin typeface="+mj-lt"/>
                        </a:rPr>
                        <a:t> 21)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FY22 (Apr – Jan 22)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Growth (%)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55352206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ume </a:t>
                      </a:r>
                      <a:r>
                        <a:rPr lang="en-I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MT)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753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93366133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 (%)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85616351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D</a:t>
                      </a:r>
                      <a:r>
                        <a:rPr lang="en-IN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%)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51579697"/>
                  </a:ext>
                </a:extLst>
              </a:tr>
            </a:tbl>
          </a:graphicData>
        </a:graphic>
      </p:graphicFrame>
      <p:sp>
        <p:nvSpPr>
          <p:cNvPr id="25" name="Rectangle: Top Corners Rounded 21">
            <a:extLst>
              <a:ext uri="{FF2B5EF4-FFF2-40B4-BE49-F238E27FC236}">
                <a16:creationId xmlns:a16="http://schemas.microsoft.com/office/drawing/2014/main" xmlns="" id="{48DEA55A-4C1E-4BE6-86B5-53DA7DD8EB1E}"/>
              </a:ext>
            </a:extLst>
          </p:cNvPr>
          <p:cNvSpPr/>
          <p:nvPr/>
        </p:nvSpPr>
        <p:spPr>
          <a:xfrm>
            <a:off x="6003107" y="1331243"/>
            <a:ext cx="6014720" cy="315975"/>
          </a:xfrm>
          <a:prstGeom prst="round2Same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26" tIns="0" rIns="9143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twork detail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Rectangle: Top Corners Rounded 21">
            <a:extLst>
              <a:ext uri="{FF2B5EF4-FFF2-40B4-BE49-F238E27FC236}">
                <a16:creationId xmlns:a16="http://schemas.microsoft.com/office/drawing/2014/main" xmlns="" id="{48DEA55A-4C1E-4BE6-86B5-53DA7DD8EB1E}"/>
              </a:ext>
            </a:extLst>
          </p:cNvPr>
          <p:cNvSpPr/>
          <p:nvPr/>
        </p:nvSpPr>
        <p:spPr>
          <a:xfrm>
            <a:off x="100148" y="1356784"/>
            <a:ext cx="5543005" cy="315975"/>
          </a:xfrm>
          <a:prstGeom prst="round2Same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26" tIns="0" rIns="9143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lume Journey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8" name="Table 27"/>
          <p:cNvGraphicFramePr>
            <a:graphicFrameLocks noGrp="1"/>
          </p:cNvGraphicFramePr>
          <p:nvPr/>
        </p:nvGraphicFramePr>
        <p:xfrm>
          <a:off x="6003107" y="3561932"/>
          <a:ext cx="6014720" cy="1777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3680">
                  <a:extLst>
                    <a:ext uri="{9D8B030D-6E8A-4147-A177-3AD203B41FA5}">
                      <a16:colId xmlns:a16="http://schemas.microsoft.com/office/drawing/2014/main" xmlns="" val="644944820"/>
                    </a:ext>
                  </a:extLst>
                </a:gridCol>
                <a:gridCol w="1503680">
                  <a:extLst>
                    <a:ext uri="{9D8B030D-6E8A-4147-A177-3AD203B41FA5}">
                      <a16:colId xmlns:a16="http://schemas.microsoft.com/office/drawing/2014/main" xmlns="" val="2919607223"/>
                    </a:ext>
                  </a:extLst>
                </a:gridCol>
                <a:gridCol w="1503680">
                  <a:extLst>
                    <a:ext uri="{9D8B030D-6E8A-4147-A177-3AD203B41FA5}">
                      <a16:colId xmlns:a16="http://schemas.microsoft.com/office/drawing/2014/main" xmlns="" val="492436546"/>
                    </a:ext>
                  </a:extLst>
                </a:gridCol>
                <a:gridCol w="1503680">
                  <a:extLst>
                    <a:ext uri="{9D8B030D-6E8A-4147-A177-3AD203B41FA5}">
                      <a16:colId xmlns:a16="http://schemas.microsoft.com/office/drawing/2014/main" xmlns="" val="3665563024"/>
                    </a:ext>
                  </a:extLst>
                </a:gridCol>
              </a:tblGrid>
              <a:tr h="581899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j-lt"/>
                        </a:rPr>
                        <a:t>Network Partners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Added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SD Refund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Net Addition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55352206"/>
                  </a:ext>
                </a:extLst>
              </a:tr>
              <a:tr h="39848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eale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4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2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2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93366133"/>
                  </a:ext>
                </a:extLst>
              </a:tr>
              <a:tr h="39848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RS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4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-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4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85616351"/>
                  </a:ext>
                </a:extLst>
              </a:tr>
              <a:tr h="39848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B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3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-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3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51579697"/>
                  </a:ext>
                </a:extLst>
              </a:tr>
            </a:tbl>
          </a:graphicData>
        </a:graphic>
      </p:graphicFrame>
      <p:sp>
        <p:nvSpPr>
          <p:cNvPr id="29" name="Rectangle: Top Corners Rounded 21">
            <a:extLst>
              <a:ext uri="{FF2B5EF4-FFF2-40B4-BE49-F238E27FC236}">
                <a16:creationId xmlns:a16="http://schemas.microsoft.com/office/drawing/2014/main" xmlns="" id="{48DEA55A-4C1E-4BE6-86B5-53DA7DD8EB1E}"/>
              </a:ext>
            </a:extLst>
          </p:cNvPr>
          <p:cNvSpPr/>
          <p:nvPr/>
        </p:nvSpPr>
        <p:spPr>
          <a:xfrm>
            <a:off x="6003107" y="3194875"/>
            <a:ext cx="6014720" cy="315975"/>
          </a:xfrm>
          <a:prstGeom prst="round2Same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26" tIns="0" rIns="9143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twork appointment (FY22 YTD)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0" name="Table 29"/>
          <p:cNvGraphicFramePr>
            <a:graphicFrameLocks noGrp="1"/>
          </p:cNvGraphicFramePr>
          <p:nvPr/>
        </p:nvGraphicFramePr>
        <p:xfrm>
          <a:off x="100149" y="3561932"/>
          <a:ext cx="5543004" cy="17773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5751">
                  <a:extLst>
                    <a:ext uri="{9D8B030D-6E8A-4147-A177-3AD203B41FA5}">
                      <a16:colId xmlns:a16="http://schemas.microsoft.com/office/drawing/2014/main" xmlns="" val="644944820"/>
                    </a:ext>
                  </a:extLst>
                </a:gridCol>
                <a:gridCol w="1385751">
                  <a:extLst>
                    <a:ext uri="{9D8B030D-6E8A-4147-A177-3AD203B41FA5}">
                      <a16:colId xmlns:a16="http://schemas.microsoft.com/office/drawing/2014/main" xmlns="" val="2919607223"/>
                    </a:ext>
                  </a:extLst>
                </a:gridCol>
                <a:gridCol w="1385751">
                  <a:extLst>
                    <a:ext uri="{9D8B030D-6E8A-4147-A177-3AD203B41FA5}">
                      <a16:colId xmlns:a16="http://schemas.microsoft.com/office/drawing/2014/main" xmlns="" val="492436546"/>
                    </a:ext>
                  </a:extLst>
                </a:gridCol>
                <a:gridCol w="1385751">
                  <a:extLst>
                    <a:ext uri="{9D8B030D-6E8A-4147-A177-3AD203B41FA5}">
                      <a16:colId xmlns:a16="http://schemas.microsoft.com/office/drawing/2014/main" xmlns="" val="3665563024"/>
                    </a:ext>
                  </a:extLst>
                </a:gridCol>
              </a:tblGrid>
              <a:tr h="511538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j-lt"/>
                        </a:rPr>
                        <a:t>Particulars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Penetration</a:t>
                      </a:r>
                      <a:r>
                        <a:rPr lang="en-US" sz="1400" baseline="0" dirty="0" smtClean="0">
                          <a:latin typeface="+mj-lt"/>
                        </a:rPr>
                        <a:t> till Jan’22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2829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Feb Target</a:t>
                      </a:r>
                      <a:endParaRPr lang="en-IN" sz="14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j-lt"/>
                        </a:rPr>
                        <a:t>SD </a:t>
                      </a:r>
                      <a:r>
                        <a:rPr lang="en-US" sz="1400" dirty="0" err="1" smtClean="0">
                          <a:latin typeface="+mj-lt"/>
                        </a:rPr>
                        <a:t>Recvd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55352206"/>
                  </a:ext>
                </a:extLst>
              </a:tr>
              <a:tr h="43066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hase 2 Target</a:t>
                      </a:r>
                      <a:r>
                        <a:rPr lang="en-IN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Villages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4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6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1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93366133"/>
                  </a:ext>
                </a:extLst>
              </a:tr>
              <a:tr h="511538">
                <a:tc>
                  <a:txBody>
                    <a:bodyPr/>
                    <a:lstStyle/>
                    <a:p>
                      <a:pPr marL="0" algn="l" defTabSz="2829844" rtl="0" eaLnBrk="1" fontAlgn="ctr" latinLnBrk="0" hangingPunct="1"/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Particulars</a:t>
                      </a:r>
                      <a:endParaRPr lang="en-IN" sz="1400" b="1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2829844" rtl="0" eaLnBrk="1" latinLnBrk="0" hangingPunct="1"/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Penetrated Villages</a:t>
                      </a:r>
                      <a:endParaRPr lang="en-IN" sz="1400" b="1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2829844" rtl="0" eaLnBrk="1" latinLnBrk="0" hangingPunct="1"/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Inactive Counters</a:t>
                      </a:r>
                      <a:endParaRPr lang="en-IN" sz="1400" b="1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2829844" rtl="0" eaLnBrk="1" latinLnBrk="0" hangingPunct="1"/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Feb Target for activation</a:t>
                      </a:r>
                      <a:endParaRPr lang="en-IN" sz="1400" b="1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85616351"/>
                  </a:ext>
                </a:extLst>
              </a:tr>
              <a:tr h="300904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 1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11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2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1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51579697"/>
                  </a:ext>
                </a:extLst>
              </a:tr>
            </a:tbl>
          </a:graphicData>
        </a:graphic>
      </p:graphicFrame>
      <p:sp>
        <p:nvSpPr>
          <p:cNvPr id="31" name="Rectangle: Top Corners Rounded 21">
            <a:extLst>
              <a:ext uri="{FF2B5EF4-FFF2-40B4-BE49-F238E27FC236}">
                <a16:creationId xmlns:a16="http://schemas.microsoft.com/office/drawing/2014/main" xmlns="" id="{48DEA55A-4C1E-4BE6-86B5-53DA7DD8EB1E}"/>
              </a:ext>
            </a:extLst>
          </p:cNvPr>
          <p:cNvSpPr/>
          <p:nvPr/>
        </p:nvSpPr>
        <p:spPr>
          <a:xfrm>
            <a:off x="100148" y="3194875"/>
            <a:ext cx="5543005" cy="315975"/>
          </a:xfrm>
          <a:prstGeom prst="round2Same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26" tIns="0" rIns="9143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ral Pipelin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3" name="Table 32"/>
          <p:cNvGraphicFramePr>
            <a:graphicFrameLocks noGrp="1"/>
          </p:cNvGraphicFramePr>
          <p:nvPr/>
        </p:nvGraphicFramePr>
        <p:xfrm>
          <a:off x="91436" y="5882473"/>
          <a:ext cx="11991705" cy="7410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98341">
                  <a:extLst>
                    <a:ext uri="{9D8B030D-6E8A-4147-A177-3AD203B41FA5}">
                      <a16:colId xmlns:a16="http://schemas.microsoft.com/office/drawing/2014/main" xmlns="" val="644944820"/>
                    </a:ext>
                  </a:extLst>
                </a:gridCol>
                <a:gridCol w="2398341">
                  <a:extLst>
                    <a:ext uri="{9D8B030D-6E8A-4147-A177-3AD203B41FA5}">
                      <a16:colId xmlns:a16="http://schemas.microsoft.com/office/drawing/2014/main" xmlns="" val="2919607223"/>
                    </a:ext>
                  </a:extLst>
                </a:gridCol>
                <a:gridCol w="2398341">
                  <a:extLst>
                    <a:ext uri="{9D8B030D-6E8A-4147-A177-3AD203B41FA5}">
                      <a16:colId xmlns:a16="http://schemas.microsoft.com/office/drawing/2014/main" xmlns="" val="492436546"/>
                    </a:ext>
                  </a:extLst>
                </a:gridCol>
                <a:gridCol w="2398341">
                  <a:extLst>
                    <a:ext uri="{9D8B030D-6E8A-4147-A177-3AD203B41FA5}">
                      <a16:colId xmlns:a16="http://schemas.microsoft.com/office/drawing/2014/main" xmlns="" val="3665563024"/>
                    </a:ext>
                  </a:extLst>
                </a:gridCol>
                <a:gridCol w="2398341">
                  <a:extLst>
                    <a:ext uri="{9D8B030D-6E8A-4147-A177-3AD203B41FA5}">
                      <a16:colId xmlns:a16="http://schemas.microsoft.com/office/drawing/2014/main" xmlns="" val="2247218928"/>
                    </a:ext>
                  </a:extLst>
                </a:gridCol>
              </a:tblGrid>
              <a:tr h="39887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CP Adherence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OC Status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oney Receipt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GST Documentation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# of cases Outstanding</a:t>
                      </a:r>
                      <a:r>
                        <a:rPr lang="en-US" sz="14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(&gt;30 days)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2655352206"/>
                  </a:ext>
                </a:extLst>
              </a:tr>
              <a:tr h="250078">
                <a:tc>
                  <a:txBody>
                    <a:bodyPr/>
                    <a:lstStyle/>
                    <a:p>
                      <a:pPr algn="ctr" fontAlgn="ctr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DEC</a:t>
                      </a:r>
                      <a:r>
                        <a:rPr lang="en-IN" sz="1400" baseline="0" dirty="0" smtClean="0">
                          <a:latin typeface="+mj-lt"/>
                        </a:rPr>
                        <a:t> &amp; JAN PENDING 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3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93366133"/>
                  </a:ext>
                </a:extLst>
              </a:tr>
            </a:tbl>
          </a:graphicData>
        </a:graphic>
      </p:graphicFrame>
      <p:sp>
        <p:nvSpPr>
          <p:cNvPr id="34" name="Rectangle: Top Corners Rounded 21">
            <a:extLst>
              <a:ext uri="{FF2B5EF4-FFF2-40B4-BE49-F238E27FC236}">
                <a16:creationId xmlns:a16="http://schemas.microsoft.com/office/drawing/2014/main" xmlns="" id="{48DEA55A-4C1E-4BE6-86B5-53DA7DD8EB1E}"/>
              </a:ext>
            </a:extLst>
          </p:cNvPr>
          <p:cNvSpPr/>
          <p:nvPr/>
        </p:nvSpPr>
        <p:spPr>
          <a:xfrm>
            <a:off x="91437" y="5544078"/>
            <a:ext cx="11991704" cy="315975"/>
          </a:xfrm>
          <a:prstGeom prst="round2Same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26" tIns="0" rIns="9143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pliance Statu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77132D3C-2D7A-4845-A16B-9DDBC64400C2}"/>
              </a:ext>
            </a:extLst>
          </p:cNvPr>
          <p:cNvSpPr/>
          <p:nvPr/>
        </p:nvSpPr>
        <p:spPr>
          <a:xfrm>
            <a:off x="39184" y="1236746"/>
            <a:ext cx="5708473" cy="4193471"/>
          </a:xfrm>
          <a:prstGeom prst="rect">
            <a:avLst/>
          </a:prstGeom>
          <a:noFill/>
          <a:ln w="53975" cap="flat" cmpd="sng" algn="ctr">
            <a:gradFill flip="none" rotWithShape="1">
              <a:gsLst>
                <a:gs pos="49000">
                  <a:schemeClr val="tx2"/>
                </a:gs>
                <a:gs pos="50000">
                  <a:schemeClr val="accent5"/>
                </a:gs>
              </a:gsLst>
              <a:lin ang="0" scaled="1"/>
              <a:tileRect/>
            </a:gradFill>
            <a:prstDash val="solid"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58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77132D3C-2D7A-4845-A16B-9DDBC64400C2}"/>
              </a:ext>
            </a:extLst>
          </p:cNvPr>
          <p:cNvSpPr/>
          <p:nvPr/>
        </p:nvSpPr>
        <p:spPr>
          <a:xfrm>
            <a:off x="5847809" y="1244618"/>
            <a:ext cx="6274521" cy="4193471"/>
          </a:xfrm>
          <a:prstGeom prst="rect">
            <a:avLst/>
          </a:prstGeom>
          <a:noFill/>
          <a:ln w="53975" cap="flat" cmpd="sng" algn="ctr">
            <a:gradFill flip="none" rotWithShape="1">
              <a:gsLst>
                <a:gs pos="49000">
                  <a:schemeClr val="tx2"/>
                </a:gs>
                <a:gs pos="50000">
                  <a:schemeClr val="accent5"/>
                </a:gs>
              </a:gsLst>
              <a:lin ang="0" scaled="1"/>
              <a:tileRect/>
            </a:gradFill>
            <a:prstDash val="solid"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58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77132D3C-2D7A-4845-A16B-9DDBC64400C2}"/>
              </a:ext>
            </a:extLst>
          </p:cNvPr>
          <p:cNvSpPr/>
          <p:nvPr/>
        </p:nvSpPr>
        <p:spPr>
          <a:xfrm rot="16200000">
            <a:off x="5463839" y="66524"/>
            <a:ext cx="1216421" cy="12074434"/>
          </a:xfrm>
          <a:prstGeom prst="rect">
            <a:avLst/>
          </a:prstGeom>
          <a:noFill/>
          <a:ln w="53975" cap="flat" cmpd="sng" algn="ctr">
            <a:gradFill flip="none" rotWithShape="1">
              <a:gsLst>
                <a:gs pos="49000">
                  <a:schemeClr val="tx2"/>
                </a:gs>
                <a:gs pos="50000">
                  <a:schemeClr val="accent5"/>
                </a:gs>
              </a:gsLst>
              <a:lin ang="0" scaled="1"/>
              <a:tileRect/>
            </a:gradFill>
            <a:prstDash val="solid"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58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67605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28758625-D74F-4A51-AF83-327C30ED5C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149" y="571423"/>
            <a:ext cx="10972799" cy="551983"/>
          </a:xfrm>
        </p:spPr>
        <p:txBody>
          <a:bodyPr vert="horz" lIns="0" tIns="0" rIns="0" bIns="0" rtlCol="0" anchor="ctr">
            <a:noAutofit/>
          </a:bodyPr>
          <a:lstStyle/>
          <a:p>
            <a:r>
              <a:rPr lang="en-US" sz="3333" dirty="0" smtClean="0">
                <a:solidFill>
                  <a:schemeClr val="accent2"/>
                </a:solidFill>
              </a:rPr>
              <a:t>SSA Performance Sheet </a:t>
            </a:r>
            <a:r>
              <a:rPr lang="en-US" sz="3333" dirty="0">
                <a:solidFill>
                  <a:schemeClr val="tx2"/>
                </a:solidFill>
              </a:rPr>
              <a:t>|</a:t>
            </a:r>
            <a:r>
              <a:rPr lang="en-US" sz="3333" dirty="0" smtClean="0">
                <a:solidFill>
                  <a:schemeClr val="accent2"/>
                </a:solidFill>
              </a:rPr>
              <a:t>|</a:t>
            </a:r>
            <a:r>
              <a:rPr lang="en-US" sz="3333" dirty="0" smtClean="0">
                <a:solidFill>
                  <a:schemeClr val="tx2"/>
                </a:solidFill>
              </a:rPr>
              <a:t> NAME | District | AO</a:t>
            </a:r>
            <a:endParaRPr lang="en-US" sz="3333" i="1" dirty="0">
              <a:solidFill>
                <a:schemeClr val="tx2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B96E5B2-1E30-4BCE-A3B2-B77E3B1D605D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2102" y="1877"/>
          <a:ext cx="1588" cy="1588"/>
        </p:xfrm>
        <a:graphic>
          <a:graphicData uri="http://schemas.openxmlformats.org/presentationml/2006/ole">
            <p:oleObj spid="_x0000_s17415" name="think-cell Slide" r:id="rId5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4B99806-886A-4F85-9BFB-969030C21E0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5" y="289"/>
            <a:ext cx="158737" cy="15873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520591606"/>
              </p:ext>
            </p:extLst>
          </p:nvPr>
        </p:nvGraphicFramePr>
        <p:xfrm>
          <a:off x="6003107" y="1698300"/>
          <a:ext cx="6014720" cy="14325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02944">
                  <a:extLst>
                    <a:ext uri="{9D8B030D-6E8A-4147-A177-3AD203B41FA5}">
                      <a16:colId xmlns:a16="http://schemas.microsoft.com/office/drawing/2014/main" xmlns="" val="644944820"/>
                    </a:ext>
                  </a:extLst>
                </a:gridCol>
                <a:gridCol w="1202944">
                  <a:extLst>
                    <a:ext uri="{9D8B030D-6E8A-4147-A177-3AD203B41FA5}">
                      <a16:colId xmlns:a16="http://schemas.microsoft.com/office/drawing/2014/main" xmlns="" val="2919607223"/>
                    </a:ext>
                  </a:extLst>
                </a:gridCol>
                <a:gridCol w="1202944">
                  <a:extLst>
                    <a:ext uri="{9D8B030D-6E8A-4147-A177-3AD203B41FA5}">
                      <a16:colId xmlns:a16="http://schemas.microsoft.com/office/drawing/2014/main" xmlns="" val="492436546"/>
                    </a:ext>
                  </a:extLst>
                </a:gridCol>
                <a:gridCol w="1202944">
                  <a:extLst>
                    <a:ext uri="{9D8B030D-6E8A-4147-A177-3AD203B41FA5}">
                      <a16:colId xmlns:a16="http://schemas.microsoft.com/office/drawing/2014/main" xmlns="" val="3665563024"/>
                    </a:ext>
                  </a:extLst>
                </a:gridCol>
                <a:gridCol w="1202944">
                  <a:extLst>
                    <a:ext uri="{9D8B030D-6E8A-4147-A177-3AD203B41FA5}">
                      <a16:colId xmlns:a16="http://schemas.microsoft.com/office/drawing/2014/main" xmlns="" val="4120640644"/>
                    </a:ext>
                  </a:extLst>
                </a:gridCol>
              </a:tblGrid>
              <a:tr h="445089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Network Partners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Numbers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Active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Active</a:t>
                      </a:r>
                      <a:r>
                        <a:rPr lang="en-US" sz="1400" baseline="0" dirty="0" smtClean="0"/>
                        <a:t> (%)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Growth (%)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55352206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 smtClean="0">
                          <a:effectLst/>
                        </a:rPr>
                        <a:t>ARS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93366133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u="none" strike="noStrike" dirty="0" smtClean="0">
                          <a:effectLst/>
                        </a:rPr>
                        <a:t>GB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85616351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u="none" strike="noStrike" dirty="0" smtClean="0">
                          <a:effectLst/>
                        </a:rPr>
                        <a:t>Retailer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51579697"/>
                  </a:ext>
                </a:extLst>
              </a:tr>
            </a:tbl>
          </a:graphicData>
        </a:graphic>
      </p:graphicFrame>
      <p:graphicFrame>
        <p:nvGraphicFramePr>
          <p:cNvPr id="24" name="Tab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089302386"/>
              </p:ext>
            </p:extLst>
          </p:nvPr>
        </p:nvGraphicFramePr>
        <p:xfrm>
          <a:off x="100147" y="1698300"/>
          <a:ext cx="5543006" cy="135948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077683">
                  <a:extLst>
                    <a:ext uri="{9D8B030D-6E8A-4147-A177-3AD203B41FA5}">
                      <a16:colId xmlns:a16="http://schemas.microsoft.com/office/drawing/2014/main" xmlns="" val="644944820"/>
                    </a:ext>
                  </a:extLst>
                </a:gridCol>
                <a:gridCol w="1693820">
                  <a:extLst>
                    <a:ext uri="{9D8B030D-6E8A-4147-A177-3AD203B41FA5}">
                      <a16:colId xmlns:a16="http://schemas.microsoft.com/office/drawing/2014/main" xmlns="" val="2919607223"/>
                    </a:ext>
                  </a:extLst>
                </a:gridCol>
                <a:gridCol w="1631984">
                  <a:extLst>
                    <a:ext uri="{9D8B030D-6E8A-4147-A177-3AD203B41FA5}">
                      <a16:colId xmlns:a16="http://schemas.microsoft.com/office/drawing/2014/main" xmlns="" val="492436546"/>
                    </a:ext>
                  </a:extLst>
                </a:gridCol>
                <a:gridCol w="1139519">
                  <a:extLst>
                    <a:ext uri="{9D8B030D-6E8A-4147-A177-3AD203B41FA5}">
                      <a16:colId xmlns:a16="http://schemas.microsoft.com/office/drawing/2014/main" xmlns="" val="3665563024"/>
                    </a:ext>
                  </a:extLst>
                </a:gridCol>
              </a:tblGrid>
              <a:tr h="445089"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/>
                        <a:t>ARS Size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Number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Active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Inactive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55352206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u="none" strike="noStrike">
                          <a:effectLst/>
                        </a:rPr>
                        <a:t>0-2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93366133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u="none" strike="noStrike">
                          <a:effectLst/>
                        </a:rPr>
                        <a:t>21-50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85616351"/>
                  </a:ext>
                </a:extLst>
              </a:tr>
              <a:tr h="280311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u="none" strike="noStrike" dirty="0">
                          <a:effectLst/>
                        </a:rPr>
                        <a:t>51+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51579697"/>
                  </a:ext>
                </a:extLst>
              </a:tr>
            </a:tbl>
          </a:graphicData>
        </a:graphic>
      </p:graphicFrame>
      <p:sp>
        <p:nvSpPr>
          <p:cNvPr id="25" name="Rectangle: Top Corners Rounded 21">
            <a:extLst>
              <a:ext uri="{FF2B5EF4-FFF2-40B4-BE49-F238E27FC236}">
                <a16:creationId xmlns:a16="http://schemas.microsoft.com/office/drawing/2014/main" xmlns="" id="{48DEA55A-4C1E-4BE6-86B5-53DA7DD8EB1E}"/>
              </a:ext>
            </a:extLst>
          </p:cNvPr>
          <p:cNvSpPr/>
          <p:nvPr/>
        </p:nvSpPr>
        <p:spPr>
          <a:xfrm>
            <a:off x="6003107" y="1331243"/>
            <a:ext cx="6014720" cy="315975"/>
          </a:xfrm>
          <a:prstGeom prst="round2SameRect">
            <a:avLst/>
          </a:prstGeom>
          <a:gradFill flip="none" rotWithShape="1">
            <a:gsLst>
              <a:gs pos="0">
                <a:srgbClr val="9BBB59">
                  <a:shade val="30000"/>
                  <a:satMod val="115000"/>
                </a:srgbClr>
              </a:gs>
              <a:gs pos="50000">
                <a:srgbClr val="9BBB59">
                  <a:shade val="67500"/>
                  <a:satMod val="115000"/>
                </a:srgbClr>
              </a:gs>
              <a:gs pos="100000">
                <a:srgbClr val="9BBB59">
                  <a:shade val="100000"/>
                  <a:satMod val="11500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26" tIns="0" rIns="9143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twork detail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Rectangle: Top Corners Rounded 21">
            <a:extLst>
              <a:ext uri="{FF2B5EF4-FFF2-40B4-BE49-F238E27FC236}">
                <a16:creationId xmlns:a16="http://schemas.microsoft.com/office/drawing/2014/main" xmlns="" id="{48DEA55A-4C1E-4BE6-86B5-53DA7DD8EB1E}"/>
              </a:ext>
            </a:extLst>
          </p:cNvPr>
          <p:cNvSpPr/>
          <p:nvPr/>
        </p:nvSpPr>
        <p:spPr>
          <a:xfrm>
            <a:off x="100148" y="1356784"/>
            <a:ext cx="5543005" cy="315975"/>
          </a:xfrm>
          <a:prstGeom prst="round2SameRect">
            <a:avLst/>
          </a:prstGeom>
          <a:gradFill flip="none" rotWithShape="1">
            <a:gsLst>
              <a:gs pos="0">
                <a:srgbClr val="9BBB59">
                  <a:shade val="30000"/>
                  <a:satMod val="115000"/>
                </a:srgbClr>
              </a:gs>
              <a:gs pos="50000">
                <a:srgbClr val="9BBB59">
                  <a:shade val="67500"/>
                  <a:satMod val="115000"/>
                </a:srgbClr>
              </a:gs>
              <a:gs pos="100000">
                <a:srgbClr val="9BBB59">
                  <a:shade val="100000"/>
                  <a:satMod val="11500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26" tIns="0" rIns="9143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S Performanc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8" name="Table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174101567"/>
              </p:ext>
            </p:extLst>
          </p:nvPr>
        </p:nvGraphicFramePr>
        <p:xfrm>
          <a:off x="6003107" y="3561932"/>
          <a:ext cx="6014720" cy="177736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503680">
                  <a:extLst>
                    <a:ext uri="{9D8B030D-6E8A-4147-A177-3AD203B41FA5}">
                      <a16:colId xmlns:a16="http://schemas.microsoft.com/office/drawing/2014/main" xmlns="" val="644944820"/>
                    </a:ext>
                  </a:extLst>
                </a:gridCol>
                <a:gridCol w="1503680">
                  <a:extLst>
                    <a:ext uri="{9D8B030D-6E8A-4147-A177-3AD203B41FA5}">
                      <a16:colId xmlns:a16="http://schemas.microsoft.com/office/drawing/2014/main" xmlns="" val="2919607223"/>
                    </a:ext>
                  </a:extLst>
                </a:gridCol>
                <a:gridCol w="1503680">
                  <a:extLst>
                    <a:ext uri="{9D8B030D-6E8A-4147-A177-3AD203B41FA5}">
                      <a16:colId xmlns:a16="http://schemas.microsoft.com/office/drawing/2014/main" xmlns="" val="492436546"/>
                    </a:ext>
                  </a:extLst>
                </a:gridCol>
                <a:gridCol w="1503680">
                  <a:extLst>
                    <a:ext uri="{9D8B030D-6E8A-4147-A177-3AD203B41FA5}">
                      <a16:colId xmlns:a16="http://schemas.microsoft.com/office/drawing/2014/main" xmlns="" val="3665563024"/>
                    </a:ext>
                  </a:extLst>
                </a:gridCol>
              </a:tblGrid>
              <a:tr h="581899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Network Partners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Added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SD Refund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Net Addition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55352206"/>
                  </a:ext>
                </a:extLst>
              </a:tr>
              <a:tr h="39848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u="none" strike="noStrike" dirty="0">
                          <a:effectLst/>
                        </a:rPr>
                        <a:t>ARS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93366133"/>
                  </a:ext>
                </a:extLst>
              </a:tr>
              <a:tr h="39848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u="none" strike="noStrike" dirty="0" smtClean="0">
                          <a:effectLst/>
                        </a:rPr>
                        <a:t>GB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85616351"/>
                  </a:ext>
                </a:extLst>
              </a:tr>
              <a:tr h="39848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u="none" strike="noStrike" dirty="0" smtClean="0">
                          <a:effectLst/>
                        </a:rPr>
                        <a:t>Retailer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51579697"/>
                  </a:ext>
                </a:extLst>
              </a:tr>
            </a:tbl>
          </a:graphicData>
        </a:graphic>
      </p:graphicFrame>
      <p:sp>
        <p:nvSpPr>
          <p:cNvPr id="29" name="Rectangle: Top Corners Rounded 21">
            <a:extLst>
              <a:ext uri="{FF2B5EF4-FFF2-40B4-BE49-F238E27FC236}">
                <a16:creationId xmlns:a16="http://schemas.microsoft.com/office/drawing/2014/main" xmlns="" id="{48DEA55A-4C1E-4BE6-86B5-53DA7DD8EB1E}"/>
              </a:ext>
            </a:extLst>
          </p:cNvPr>
          <p:cNvSpPr/>
          <p:nvPr/>
        </p:nvSpPr>
        <p:spPr>
          <a:xfrm>
            <a:off x="6003107" y="3194875"/>
            <a:ext cx="6014720" cy="315975"/>
          </a:xfrm>
          <a:prstGeom prst="round2SameRect">
            <a:avLst/>
          </a:prstGeom>
          <a:gradFill flip="none" rotWithShape="1">
            <a:gsLst>
              <a:gs pos="0">
                <a:srgbClr val="9BBB59">
                  <a:shade val="30000"/>
                  <a:satMod val="115000"/>
                </a:srgbClr>
              </a:gs>
              <a:gs pos="50000">
                <a:srgbClr val="9BBB59">
                  <a:shade val="67500"/>
                  <a:satMod val="115000"/>
                </a:srgbClr>
              </a:gs>
              <a:gs pos="100000">
                <a:srgbClr val="9BBB59">
                  <a:shade val="100000"/>
                  <a:satMod val="11500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26" tIns="0" rIns="9143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twork appointment (FY22 YTD)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0" name="Table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123953195"/>
              </p:ext>
            </p:extLst>
          </p:nvPr>
        </p:nvGraphicFramePr>
        <p:xfrm>
          <a:off x="100149" y="3561932"/>
          <a:ext cx="5543004" cy="177736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85751">
                  <a:extLst>
                    <a:ext uri="{9D8B030D-6E8A-4147-A177-3AD203B41FA5}">
                      <a16:colId xmlns:a16="http://schemas.microsoft.com/office/drawing/2014/main" xmlns="" val="644944820"/>
                    </a:ext>
                  </a:extLst>
                </a:gridCol>
                <a:gridCol w="1385751">
                  <a:extLst>
                    <a:ext uri="{9D8B030D-6E8A-4147-A177-3AD203B41FA5}">
                      <a16:colId xmlns:a16="http://schemas.microsoft.com/office/drawing/2014/main" xmlns="" val="2919607223"/>
                    </a:ext>
                  </a:extLst>
                </a:gridCol>
                <a:gridCol w="1385751">
                  <a:extLst>
                    <a:ext uri="{9D8B030D-6E8A-4147-A177-3AD203B41FA5}">
                      <a16:colId xmlns:a16="http://schemas.microsoft.com/office/drawing/2014/main" xmlns="" val="492436546"/>
                    </a:ext>
                  </a:extLst>
                </a:gridCol>
                <a:gridCol w="1385751">
                  <a:extLst>
                    <a:ext uri="{9D8B030D-6E8A-4147-A177-3AD203B41FA5}">
                      <a16:colId xmlns:a16="http://schemas.microsoft.com/office/drawing/2014/main" xmlns="" val="3665563024"/>
                    </a:ext>
                  </a:extLst>
                </a:gridCol>
              </a:tblGrid>
              <a:tr h="511538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articulars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enetration</a:t>
                      </a:r>
                      <a:r>
                        <a:rPr lang="en-US" sz="1400" baseline="0" dirty="0" smtClean="0"/>
                        <a:t> till Jan’22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2829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/>
                        <a:t>Feb Target</a:t>
                      </a:r>
                      <a:endParaRPr lang="en-IN" sz="1400" kern="1200" dirty="0" smtClean="0"/>
                    </a:p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SD </a:t>
                      </a:r>
                      <a:r>
                        <a:rPr lang="en-US" sz="1400" dirty="0" err="1" smtClean="0"/>
                        <a:t>Recvd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55352206"/>
                  </a:ext>
                </a:extLst>
              </a:tr>
              <a:tr h="43066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u="none" strike="noStrike" dirty="0" smtClean="0">
                          <a:effectLst/>
                        </a:rPr>
                        <a:t>Phase 2 Target</a:t>
                      </a:r>
                      <a:r>
                        <a:rPr lang="en-IN" sz="1400" u="none" strike="noStrike" baseline="0" dirty="0" smtClean="0">
                          <a:effectLst/>
                        </a:rPr>
                        <a:t> Villages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4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6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>
                          <a:latin typeface="+mj-lt"/>
                        </a:rPr>
                        <a:t>1</a:t>
                      </a:r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93366133"/>
                  </a:ext>
                </a:extLst>
              </a:tr>
              <a:tr h="511538">
                <a:tc>
                  <a:txBody>
                    <a:bodyPr/>
                    <a:lstStyle/>
                    <a:p>
                      <a:pPr marL="0" algn="l" defTabSz="2829844" rtl="0" eaLnBrk="1" fontAlgn="ctr" latinLnBrk="0" hangingPunct="1"/>
                      <a:r>
                        <a:rPr lang="en-US" sz="1400" kern="1200" dirty="0" smtClean="0"/>
                        <a:t>Particulars</a:t>
                      </a:r>
                      <a:endParaRPr lang="en-IN" sz="1400" b="1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2829844" rtl="0" eaLnBrk="1" latinLnBrk="0" hangingPunct="1"/>
                      <a:r>
                        <a:rPr lang="en-US" sz="1400" kern="1200" dirty="0" smtClean="0"/>
                        <a:t>Penetrated Villages</a:t>
                      </a:r>
                      <a:endParaRPr lang="en-IN" sz="1400" b="1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2829844" rtl="0" eaLnBrk="1" latinLnBrk="0" hangingPunct="1"/>
                      <a:r>
                        <a:rPr lang="en-US" sz="1400" kern="1200" dirty="0" smtClean="0"/>
                        <a:t>Inactive Counters</a:t>
                      </a:r>
                      <a:endParaRPr lang="en-IN" sz="1400" b="1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2829844" rtl="0" eaLnBrk="1" latinLnBrk="0" hangingPunct="1"/>
                      <a:r>
                        <a:rPr lang="en-US" sz="1400" kern="1200" dirty="0" smtClean="0"/>
                        <a:t>Feb Target for activation</a:t>
                      </a:r>
                      <a:endParaRPr lang="en-IN" sz="1400" b="1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85616351"/>
                  </a:ext>
                </a:extLst>
              </a:tr>
              <a:tr h="300904">
                <a:tc>
                  <a:txBody>
                    <a:bodyPr/>
                    <a:lstStyle/>
                    <a:p>
                      <a:pPr algn="l" fontAlgn="ctr"/>
                      <a:r>
                        <a:rPr lang="en-IN" sz="1400" u="none" strike="noStrike" kern="1200" dirty="0" smtClean="0">
                          <a:effectLst/>
                        </a:rPr>
                        <a:t>Phase 1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51579697"/>
                  </a:ext>
                </a:extLst>
              </a:tr>
            </a:tbl>
          </a:graphicData>
        </a:graphic>
      </p:graphicFrame>
      <p:sp>
        <p:nvSpPr>
          <p:cNvPr id="31" name="Rectangle: Top Corners Rounded 21">
            <a:extLst>
              <a:ext uri="{FF2B5EF4-FFF2-40B4-BE49-F238E27FC236}">
                <a16:creationId xmlns:a16="http://schemas.microsoft.com/office/drawing/2014/main" xmlns="" id="{48DEA55A-4C1E-4BE6-86B5-53DA7DD8EB1E}"/>
              </a:ext>
            </a:extLst>
          </p:cNvPr>
          <p:cNvSpPr/>
          <p:nvPr/>
        </p:nvSpPr>
        <p:spPr>
          <a:xfrm>
            <a:off x="100148" y="3194875"/>
            <a:ext cx="5543005" cy="315975"/>
          </a:xfrm>
          <a:prstGeom prst="round2SameRect">
            <a:avLst/>
          </a:prstGeom>
          <a:gradFill flip="none" rotWithShape="1">
            <a:gsLst>
              <a:gs pos="0">
                <a:srgbClr val="9BBB59">
                  <a:shade val="30000"/>
                  <a:satMod val="115000"/>
                </a:srgbClr>
              </a:gs>
              <a:gs pos="50000">
                <a:srgbClr val="9BBB59">
                  <a:shade val="67500"/>
                  <a:satMod val="115000"/>
                </a:srgbClr>
              </a:gs>
              <a:gs pos="100000">
                <a:srgbClr val="9BBB59">
                  <a:shade val="100000"/>
                  <a:satMod val="11500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26" tIns="0" rIns="9143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ral Pipelin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3" name="Table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57828196"/>
              </p:ext>
            </p:extLst>
          </p:nvPr>
        </p:nvGraphicFramePr>
        <p:xfrm>
          <a:off x="91434" y="5908599"/>
          <a:ext cx="11926392" cy="687467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981598">
                  <a:extLst>
                    <a:ext uri="{9D8B030D-6E8A-4147-A177-3AD203B41FA5}">
                      <a16:colId xmlns:a16="http://schemas.microsoft.com/office/drawing/2014/main" xmlns="" val="644944820"/>
                    </a:ext>
                  </a:extLst>
                </a:gridCol>
                <a:gridCol w="2981598">
                  <a:extLst>
                    <a:ext uri="{9D8B030D-6E8A-4147-A177-3AD203B41FA5}">
                      <a16:colId xmlns:a16="http://schemas.microsoft.com/office/drawing/2014/main" xmlns="" val="2919607223"/>
                    </a:ext>
                  </a:extLst>
                </a:gridCol>
                <a:gridCol w="2981598">
                  <a:extLst>
                    <a:ext uri="{9D8B030D-6E8A-4147-A177-3AD203B41FA5}">
                      <a16:colId xmlns:a16="http://schemas.microsoft.com/office/drawing/2014/main" xmlns="" val="492436546"/>
                    </a:ext>
                  </a:extLst>
                </a:gridCol>
                <a:gridCol w="2981598">
                  <a:extLst>
                    <a:ext uri="{9D8B030D-6E8A-4147-A177-3AD203B41FA5}">
                      <a16:colId xmlns:a16="http://schemas.microsoft.com/office/drawing/2014/main" xmlns="" val="2247218928"/>
                    </a:ext>
                  </a:extLst>
                </a:gridCol>
              </a:tblGrid>
              <a:tr h="38266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 smtClean="0">
                          <a:effectLst/>
                        </a:rPr>
                        <a:t>JCP Adherence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 smtClean="0">
                          <a:effectLst/>
                        </a:rPr>
                        <a:t>Visit Target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 smtClean="0">
                          <a:effectLst/>
                        </a:rPr>
                        <a:t>Visit Conducted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 smtClean="0">
                          <a:effectLst/>
                        </a:rPr>
                        <a:t>Geo Tagging</a:t>
                      </a:r>
                      <a:r>
                        <a:rPr lang="en-US" sz="1400" u="none" strike="noStrike" baseline="0" dirty="0" smtClean="0">
                          <a:effectLst/>
                        </a:rPr>
                        <a:t> Pendency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2655352206"/>
                  </a:ext>
                </a:extLst>
              </a:tr>
              <a:tr h="292414">
                <a:tc>
                  <a:txBody>
                    <a:bodyPr/>
                    <a:lstStyle/>
                    <a:p>
                      <a:pPr algn="l" fontAlgn="ctr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IN" sz="14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93366133"/>
                  </a:ext>
                </a:extLst>
              </a:tr>
            </a:tbl>
          </a:graphicData>
        </a:graphic>
      </p:graphicFrame>
      <p:sp>
        <p:nvSpPr>
          <p:cNvPr id="34" name="Rectangle: Top Corners Rounded 21">
            <a:extLst>
              <a:ext uri="{FF2B5EF4-FFF2-40B4-BE49-F238E27FC236}">
                <a16:creationId xmlns:a16="http://schemas.microsoft.com/office/drawing/2014/main" xmlns="" id="{48DEA55A-4C1E-4BE6-86B5-53DA7DD8EB1E}"/>
              </a:ext>
            </a:extLst>
          </p:cNvPr>
          <p:cNvSpPr/>
          <p:nvPr/>
        </p:nvSpPr>
        <p:spPr>
          <a:xfrm>
            <a:off x="91437" y="5544078"/>
            <a:ext cx="11991704" cy="315975"/>
          </a:xfrm>
          <a:prstGeom prst="round2SameRect">
            <a:avLst/>
          </a:prstGeom>
          <a:gradFill flip="none" rotWithShape="1">
            <a:gsLst>
              <a:gs pos="0">
                <a:srgbClr val="9BBB59">
                  <a:shade val="30000"/>
                  <a:satMod val="115000"/>
                </a:srgbClr>
              </a:gs>
              <a:gs pos="50000">
                <a:srgbClr val="9BBB59">
                  <a:shade val="67500"/>
                  <a:satMod val="115000"/>
                </a:srgbClr>
              </a:gs>
              <a:gs pos="100000">
                <a:srgbClr val="9BBB59">
                  <a:shade val="100000"/>
                  <a:satMod val="115000"/>
                </a:srgb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26" tIns="0" rIns="9143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pliance Statu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77132D3C-2D7A-4845-A16B-9DDBC64400C2}"/>
              </a:ext>
            </a:extLst>
          </p:cNvPr>
          <p:cNvSpPr/>
          <p:nvPr/>
        </p:nvSpPr>
        <p:spPr>
          <a:xfrm>
            <a:off x="39184" y="1236746"/>
            <a:ext cx="5708473" cy="4193471"/>
          </a:xfrm>
          <a:prstGeom prst="rect">
            <a:avLst/>
          </a:prstGeom>
          <a:noFill/>
          <a:ln w="53975" cap="flat" cmpd="sng" algn="ctr">
            <a:gradFill flip="none" rotWithShape="1">
              <a:gsLst>
                <a:gs pos="49000">
                  <a:schemeClr val="tx2"/>
                </a:gs>
                <a:gs pos="50000">
                  <a:schemeClr val="accent5"/>
                </a:gs>
              </a:gsLst>
              <a:lin ang="0" scaled="1"/>
              <a:tileRect/>
            </a:gradFill>
            <a:prstDash val="solid"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58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77132D3C-2D7A-4845-A16B-9DDBC64400C2}"/>
              </a:ext>
            </a:extLst>
          </p:cNvPr>
          <p:cNvSpPr/>
          <p:nvPr/>
        </p:nvSpPr>
        <p:spPr>
          <a:xfrm>
            <a:off x="5847809" y="1244618"/>
            <a:ext cx="6274521" cy="4193471"/>
          </a:xfrm>
          <a:prstGeom prst="rect">
            <a:avLst/>
          </a:prstGeom>
          <a:noFill/>
          <a:ln w="53975" cap="flat" cmpd="sng" algn="ctr">
            <a:gradFill flip="none" rotWithShape="1">
              <a:gsLst>
                <a:gs pos="49000">
                  <a:schemeClr val="tx2"/>
                </a:gs>
                <a:gs pos="50000">
                  <a:schemeClr val="accent5"/>
                </a:gs>
              </a:gsLst>
              <a:lin ang="0" scaled="1"/>
              <a:tileRect/>
            </a:gradFill>
            <a:prstDash val="solid"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58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77132D3C-2D7A-4845-A16B-9DDBC64400C2}"/>
              </a:ext>
            </a:extLst>
          </p:cNvPr>
          <p:cNvSpPr/>
          <p:nvPr/>
        </p:nvSpPr>
        <p:spPr>
          <a:xfrm rot="16200000">
            <a:off x="5463839" y="66524"/>
            <a:ext cx="1216421" cy="12074434"/>
          </a:xfrm>
          <a:prstGeom prst="rect">
            <a:avLst/>
          </a:prstGeom>
          <a:noFill/>
          <a:ln w="53975" cap="flat" cmpd="sng" algn="ctr">
            <a:gradFill flip="none" rotWithShape="1">
              <a:gsLst>
                <a:gs pos="49000">
                  <a:schemeClr val="tx2"/>
                </a:gs>
                <a:gs pos="50000">
                  <a:schemeClr val="accent5"/>
                </a:gs>
              </a:gsLst>
              <a:lin ang="0" scaled="1"/>
              <a:tileRect/>
            </a:gradFill>
            <a:prstDash val="solid"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829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58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59956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MNNYowYLK9WrxSdaaa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.1CsUw2mTPW.mNhPq2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MCbHTYyEl_XSluHCLF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MCbHTYyEl_XSluHCLFNw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3</TotalTime>
  <Words>249</Words>
  <Application>Microsoft Office PowerPoint</Application>
  <PresentationFormat>Custom</PresentationFormat>
  <Paragraphs>122</Paragraphs>
  <Slides>3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1_Office Theme</vt:lpstr>
      <vt:lpstr>think-cell Slide</vt:lpstr>
      <vt:lpstr>RJ Jaipur | AO Name DMO &amp; SSA Performance</vt:lpstr>
      <vt:lpstr>DMO Performance Sheet || NAME | District | AO</vt:lpstr>
      <vt:lpstr>SSA Performance Sheet || NAME | District | AO</vt:lpstr>
    </vt:vector>
  </TitlesOfParts>
  <Company>HP Inc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J Jaipur | AO Name DMO &amp; SSA Performance</dc:title>
  <dc:creator>Vaibhav Vandhav</dc:creator>
  <cp:lastModifiedBy>dell</cp:lastModifiedBy>
  <cp:revision>5</cp:revision>
  <dcterms:created xsi:type="dcterms:W3CDTF">2022-02-08T11:28:47Z</dcterms:created>
  <dcterms:modified xsi:type="dcterms:W3CDTF">2022-02-10T08:43:20Z</dcterms:modified>
</cp:coreProperties>
</file>